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8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6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0013"/>
    <a:srgbClr val="EB0000"/>
    <a:srgbClr val="F6F6F6"/>
    <a:srgbClr val="E5E5E5"/>
    <a:srgbClr val="C60018"/>
    <a:srgbClr val="8D8D8D"/>
    <a:srgbClr val="BDBDBD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48" d="100"/>
          <a:sy n="148" d="100"/>
        </p:scale>
        <p:origin x="1278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6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Weigel Stefan (PAR-ES)" userId="fd3b2067-2981-4ad8-bf3a-d2e1004e4fa8" providerId="ADAL" clId="{588FFE97-EA6A-4471-83B2-CBE2E6919E96}"/>
    <pc:docChg chg="modSld">
      <pc:chgData name="Weigel Stefan (PAR-ES)" userId="fd3b2067-2981-4ad8-bf3a-d2e1004e4fa8" providerId="ADAL" clId="{588FFE97-EA6A-4471-83B2-CBE2E6919E96}" dt="2023-03-08T11:05:54.479" v="11" actId="27918"/>
      <pc:docMkLst>
        <pc:docMk/>
      </pc:docMkLst>
      <pc:sldChg chg="mod">
        <pc:chgData name="Weigel Stefan (PAR-ES)" userId="fd3b2067-2981-4ad8-bf3a-d2e1004e4fa8" providerId="ADAL" clId="{588FFE97-EA6A-4471-83B2-CBE2E6919E96}" dt="2023-03-08T11:05:54.479" v="11" actId="27918"/>
        <pc:sldMkLst>
          <pc:docMk/>
          <pc:sldMk cId="407174717" sldId="418"/>
        </pc:sldMkLst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A18F7E0A-45CB-48D7-A2BD-3763EC978D09}"/>
    <pc:docChg chg="modSld">
      <pc:chgData name="Meyer Raphael (PAR-ES)" userId="79615dfe-ed48-4e74-a40f-4f7b034c1c27" providerId="ADAL" clId="{A18F7E0A-45CB-48D7-A2BD-3763EC978D09}" dt="2023-02-24T14:05:07.087" v="3" actId="27918"/>
      <pc:docMkLst>
        <pc:docMk/>
      </pc:docMkLst>
      <pc:sldChg chg="mod">
        <pc:chgData name="Meyer Raphael (PAR-ES)" userId="79615dfe-ed48-4e74-a40f-4f7b034c1c27" providerId="ADAL" clId="{A18F7E0A-45CB-48D7-A2BD-3763EC978D09}" dt="2023-02-24T14:05:07.087" v="3" actId="27918"/>
        <pc:sldMkLst>
          <pc:docMk/>
          <pc:sldMk cId="407174717" sldId="418"/>
        </pc:sldMkLst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2DE2FB69-9218-4203-96C5-166D72BFACC9}"/>
    <pc:docChg chg="delSld modSld">
      <pc:chgData name="Meyer Raphael (PAR-ES)" userId="79615dfe-ed48-4e74-a40f-4f7b034c1c27" providerId="ADAL" clId="{2DE2FB69-9218-4203-96C5-166D72BFACC9}" dt="2022-03-09T16:39:06.035" v="30" actId="1037"/>
      <pc:docMkLst>
        <pc:docMk/>
      </pc:docMkLst>
      <pc:sldChg chg="del">
        <pc:chgData name="Meyer Raphael (PAR-ES)" userId="79615dfe-ed48-4e74-a40f-4f7b034c1c27" providerId="ADAL" clId="{2DE2FB69-9218-4203-96C5-166D72BFACC9}" dt="2022-03-09T16:38:39.221" v="0" actId="47"/>
        <pc:sldMkLst>
          <pc:docMk/>
          <pc:sldMk cId="3865012081" sldId="415"/>
        </pc:sldMkLst>
      </pc:sldChg>
      <pc:sldChg chg="del">
        <pc:chgData name="Meyer Raphael (PAR-ES)" userId="79615dfe-ed48-4e74-a40f-4f7b034c1c27" providerId="ADAL" clId="{2DE2FB69-9218-4203-96C5-166D72BFACC9}" dt="2022-03-09T16:38:39.221" v="0" actId="47"/>
        <pc:sldMkLst>
          <pc:docMk/>
          <pc:sldMk cId="2868978950" sldId="416"/>
        </pc:sldMkLst>
      </pc:sldChg>
      <pc:sldChg chg="del">
        <pc:chgData name="Meyer Raphael (PAR-ES)" userId="79615dfe-ed48-4e74-a40f-4f7b034c1c27" providerId="ADAL" clId="{2DE2FB69-9218-4203-96C5-166D72BFACC9}" dt="2022-03-09T16:38:39.221" v="0" actId="47"/>
        <pc:sldMkLst>
          <pc:docMk/>
          <pc:sldMk cId="976233813" sldId="417"/>
        </pc:sldMkLst>
      </pc:sldChg>
      <pc:sldChg chg="modSp mod">
        <pc:chgData name="Meyer Raphael (PAR-ES)" userId="79615dfe-ed48-4e74-a40f-4f7b034c1c27" providerId="ADAL" clId="{2DE2FB69-9218-4203-96C5-166D72BFACC9}" dt="2022-03-09T16:39:06.035" v="30" actId="1037"/>
        <pc:sldMkLst>
          <pc:docMk/>
          <pc:sldMk cId="407174717" sldId="418"/>
        </pc:sldMkLst>
        <pc:spChg chg="mod">
          <ac:chgData name="Meyer Raphael (PAR-ES)" userId="79615dfe-ed48-4e74-a40f-4f7b034c1c27" providerId="ADAL" clId="{2DE2FB69-9218-4203-96C5-166D72BFACC9}" dt="2022-03-09T16:39:06.035" v="30" actId="1037"/>
          <ac:spMkLst>
            <pc:docMk/>
            <pc:sldMk cId="407174717" sldId="418"/>
            <ac:spMk id="11" creationId="{45495507-A500-4876-A7D7-039B7559AD0C}"/>
          </ac:spMkLst>
        </pc:sp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1623051C-A4AC-408F-B764-065E18F61D89}"/>
    <pc:docChg chg="custSel modSld">
      <pc:chgData name="Weigel Stefan (PAR-EPS)" userId="fd3b2067-2981-4ad8-bf3a-d2e1004e4fa8" providerId="ADAL" clId="{1623051C-A4AC-408F-B764-065E18F61D89}" dt="2024-02-02T11:16:30.970" v="12" actId="27918"/>
      <pc:docMkLst>
        <pc:docMk/>
      </pc:docMkLst>
      <pc:sldChg chg="modSp mod">
        <pc:chgData name="Weigel Stefan (PAR-EPS)" userId="fd3b2067-2981-4ad8-bf3a-d2e1004e4fa8" providerId="ADAL" clId="{1623051C-A4AC-408F-B764-065E18F61D89}" dt="2024-02-02T11:16:30.970" v="12" actId="27918"/>
        <pc:sldMkLst>
          <pc:docMk/>
          <pc:sldMk cId="407174717" sldId="418"/>
        </pc:sldMkLst>
        <pc:spChg chg="mod">
          <ac:chgData name="Weigel Stefan (PAR-EPS)" userId="fd3b2067-2981-4ad8-bf3a-d2e1004e4fa8" providerId="ADAL" clId="{1623051C-A4AC-408F-B764-065E18F61D89}" dt="2024-02-02T11:15:32.927" v="2" actId="20577"/>
          <ac:spMkLst>
            <pc:docMk/>
            <pc:sldMk cId="407174717" sldId="418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6C4A0EA-2388-4B74-96B0-FDC2F7AF02B2}"/>
    <pc:docChg chg="custSel addSld delSld modSld sldOrd">
      <pc:chgData name="Meyer Raphael (PAR-ES)" userId="79615dfe-ed48-4e74-a40f-4f7b034c1c27" providerId="ADAL" clId="{66C4A0EA-2388-4B74-96B0-FDC2F7AF02B2}" dt="2022-03-09T16:23:27.109" v="55" actId="27918"/>
      <pc:docMkLst>
        <pc:docMk/>
      </pc:docMkLst>
      <pc:sldChg chg="del">
        <pc:chgData name="Meyer Raphael (PAR-ES)" userId="79615dfe-ed48-4e74-a40f-4f7b034c1c27" providerId="ADAL" clId="{66C4A0EA-2388-4B74-96B0-FDC2F7AF02B2}" dt="2022-03-09T16:15:51.523" v="0" actId="47"/>
        <pc:sldMkLst>
          <pc:docMk/>
          <pc:sldMk cId="1774855510" sldId="414"/>
        </pc:sldMkLst>
      </pc:sldChg>
      <pc:sldChg chg="mod">
        <pc:chgData name="Meyer Raphael (PAR-ES)" userId="79615dfe-ed48-4e74-a40f-4f7b034c1c27" providerId="ADAL" clId="{66C4A0EA-2388-4B74-96B0-FDC2F7AF02B2}" dt="2022-03-09T16:18:35.148" v="24" actId="27918"/>
        <pc:sldMkLst>
          <pc:docMk/>
          <pc:sldMk cId="3865012081" sldId="415"/>
        </pc:sldMkLst>
      </pc:sldChg>
      <pc:sldChg chg="modSp add mod ord">
        <pc:chgData name="Meyer Raphael (PAR-ES)" userId="79615dfe-ed48-4e74-a40f-4f7b034c1c27" providerId="ADAL" clId="{66C4A0EA-2388-4B74-96B0-FDC2F7AF02B2}" dt="2022-03-09T16:18:54.115" v="29"/>
        <pc:sldMkLst>
          <pc:docMk/>
          <pc:sldMk cId="2868978950" sldId="416"/>
        </pc:sldMkLst>
        <pc:spChg chg="mod">
          <ac:chgData name="Meyer Raphael (PAR-ES)" userId="79615dfe-ed48-4e74-a40f-4f7b034c1c27" providerId="ADAL" clId="{66C4A0EA-2388-4B74-96B0-FDC2F7AF02B2}" dt="2022-03-09T16:16:26.111" v="4"/>
          <ac:spMkLst>
            <pc:docMk/>
            <pc:sldMk cId="2868978950" sldId="416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16:51.514" v="5"/>
          <ac:spMkLst>
            <pc:docMk/>
            <pc:sldMk cId="2868978950" sldId="416"/>
            <ac:spMk id="11" creationId="{45495507-A500-4876-A7D7-039B7559AD0C}"/>
          </ac:spMkLst>
        </pc:spChg>
      </pc:sldChg>
      <pc:sldChg chg="modSp add mod">
        <pc:chgData name="Meyer Raphael (PAR-ES)" userId="79615dfe-ed48-4e74-a40f-4f7b034c1c27" providerId="ADAL" clId="{66C4A0EA-2388-4B74-96B0-FDC2F7AF02B2}" dt="2022-03-09T16:21:27.322" v="42" actId="27918"/>
        <pc:sldMkLst>
          <pc:docMk/>
          <pc:sldMk cId="976233813" sldId="417"/>
        </pc:sldMkLst>
        <pc:spChg chg="mod">
          <ac:chgData name="Meyer Raphael (PAR-ES)" userId="79615dfe-ed48-4e74-a40f-4f7b034c1c27" providerId="ADAL" clId="{66C4A0EA-2388-4B74-96B0-FDC2F7AF02B2}" dt="2022-03-09T16:19:41.464" v="30"/>
          <ac:spMkLst>
            <pc:docMk/>
            <pc:sldMk cId="976233813" sldId="417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0:01.271" v="31"/>
          <ac:spMkLst>
            <pc:docMk/>
            <pc:sldMk cId="976233813" sldId="417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1:05.488" v="37" actId="20577"/>
          <ac:spMkLst>
            <pc:docMk/>
            <pc:sldMk cId="976233813" sldId="417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3015967454" sldId="417"/>
        </pc:sldMkLst>
      </pc:sldChg>
      <pc:sldChg chg="modSp add mod">
        <pc:chgData name="Meyer Raphael (PAR-ES)" userId="79615dfe-ed48-4e74-a40f-4f7b034c1c27" providerId="ADAL" clId="{66C4A0EA-2388-4B74-96B0-FDC2F7AF02B2}" dt="2022-03-09T16:23:27.109" v="55" actId="27918"/>
        <pc:sldMkLst>
          <pc:docMk/>
          <pc:sldMk cId="407174717" sldId="418"/>
        </pc:sldMkLst>
        <pc:spChg chg="mod">
          <ac:chgData name="Meyer Raphael (PAR-ES)" userId="79615dfe-ed48-4e74-a40f-4f7b034c1c27" providerId="ADAL" clId="{66C4A0EA-2388-4B74-96B0-FDC2F7AF02B2}" dt="2022-03-09T16:22:17.056" v="43"/>
          <ac:spMkLst>
            <pc:docMk/>
            <pc:sldMk cId="407174717" sldId="418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2:37.624" v="44"/>
          <ac:spMkLst>
            <pc:docMk/>
            <pc:sldMk cId="407174717" sldId="418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2:41.606" v="50" actId="20577"/>
          <ac:spMkLst>
            <pc:docMk/>
            <pc:sldMk cId="407174717" sldId="418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2492649957" sldId="418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Weigel Stefan (PAR-EPS)" userId="fd3b2067-2981-4ad8-bf3a-d2e1004e4fa8" providerId="ADAL" clId="{76C38D24-3F0C-4C5B-92DB-21474E87DD4B}"/>
    <pc:docChg chg="modSld">
      <pc:chgData name="Weigel Stefan (PAR-EPS)" userId="fd3b2067-2981-4ad8-bf3a-d2e1004e4fa8" providerId="ADAL" clId="{76C38D24-3F0C-4C5B-92DB-21474E87DD4B}" dt="2025-02-25T09:21:40.663" v="12" actId="207"/>
      <pc:docMkLst>
        <pc:docMk/>
      </pc:docMkLst>
      <pc:sldChg chg="modSp mod">
        <pc:chgData name="Weigel Stefan (PAR-EPS)" userId="fd3b2067-2981-4ad8-bf3a-d2e1004e4fa8" providerId="ADAL" clId="{76C38D24-3F0C-4C5B-92DB-21474E87DD4B}" dt="2025-02-25T09:21:40.663" v="12" actId="207"/>
        <pc:sldMkLst>
          <pc:docMk/>
          <pc:sldMk cId="407174717" sldId="418"/>
        </pc:sldMkLst>
        <pc:graphicFrameChg chg="mod">
          <ac:chgData name="Weigel Stefan (PAR-EPS)" userId="fd3b2067-2981-4ad8-bf3a-d2e1004e4fa8" providerId="ADAL" clId="{76C38D24-3F0C-4C5B-92DB-21474E87DD4B}" dt="2025-02-25T09:21:40.663" v="12" actId="207"/>
          <ac:graphicFrameMkLst>
            <pc:docMk/>
            <pc:sldMk cId="407174717" sldId="41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8AF8AF8-3015-4A40-885D-1810E82E92DA}"/>
    <pc:docChg chg="delSld">
      <pc:chgData name="Meyer Raphael (PAR-ES)" userId="79615dfe-ed48-4e74-a40f-4f7b034c1c27" providerId="ADAL" clId="{38AF8AF8-3015-4A40-885D-1810E82E92DA}" dt="2022-03-09T15:47:26.635" v="0" actId="47"/>
      <pc:docMkLst>
        <pc:docMk/>
      </pc:docMkLst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844382326" sldId="415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251798312" sldId="416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2D5E6082-91B7-4E53-A3B4-AAFD822AF7C4}"/>
    <pc:docChg chg="modSld">
      <pc:chgData name="Weigel Stefan (PAR-EPS)" userId="fd3b2067-2981-4ad8-bf3a-d2e1004e4fa8" providerId="ADAL" clId="{2D5E6082-91B7-4E53-A3B4-AAFD822AF7C4}" dt="2024-04-26T07:20:16.291" v="28" actId="20577"/>
      <pc:docMkLst>
        <pc:docMk/>
      </pc:docMkLst>
      <pc:sldChg chg="modSp mod">
        <pc:chgData name="Weigel Stefan (PAR-EPS)" userId="fd3b2067-2981-4ad8-bf3a-d2e1004e4fa8" providerId="ADAL" clId="{2D5E6082-91B7-4E53-A3B4-AAFD822AF7C4}" dt="2024-04-26T07:20:16.291" v="28" actId="20577"/>
        <pc:sldMkLst>
          <pc:docMk/>
          <pc:sldMk cId="407174717" sldId="418"/>
        </pc:sldMkLst>
        <pc:spChg chg="mod">
          <ac:chgData name="Weigel Stefan (PAR-EPS)" userId="fd3b2067-2981-4ad8-bf3a-d2e1004e4fa8" providerId="ADAL" clId="{2D5E6082-91B7-4E53-A3B4-AAFD822AF7C4}" dt="2024-04-26T07:20:16.291" v="28" actId="20577"/>
          <ac:spMkLst>
            <pc:docMk/>
            <pc:sldMk cId="407174717" sldId="418"/>
            <ac:spMk id="11" creationId="{45495507-A500-4876-A7D7-039B7559AD0C}"/>
          </ac:spMkLst>
        </pc:spChg>
        <pc:spChg chg="mod">
          <ac:chgData name="Weigel Stefan (PAR-EPS)" userId="fd3b2067-2981-4ad8-bf3a-d2e1004e4fa8" providerId="ADAL" clId="{2D5E6082-91B7-4E53-A3B4-AAFD822AF7C4}" dt="2024-04-26T06:56:51.958" v="15" actId="1076"/>
          <ac:spMkLst>
            <pc:docMk/>
            <pc:sldMk cId="407174717" sldId="418"/>
            <ac:spMk id="12" creationId="{1A4657D7-3337-475E-8E67-E8F468A949AF}"/>
          </ac:spMkLst>
        </pc:spChg>
        <pc:graphicFrameChg chg="mod">
          <ac:chgData name="Weigel Stefan (PAR-EPS)" userId="fd3b2067-2981-4ad8-bf3a-d2e1004e4fa8" providerId="ADAL" clId="{2D5E6082-91B7-4E53-A3B4-AAFD822AF7C4}" dt="2024-04-26T06:57:23.348" v="19" actId="692"/>
          <ac:graphicFrameMkLst>
            <pc:docMk/>
            <pc:sldMk cId="407174717" sldId="41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915228494009"/>
          <c:y val="0.20194547626540688"/>
          <c:w val="0.79430876353508262"/>
          <c:h val="0.5489932653071727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serviti da personale FFS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8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dPt>
            <c:idx val="9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3-02CE-4424-97B3-FF7CF177A4A0}"/>
              </c:ext>
            </c:extLst>
          </c:dPt>
          <c:dPt>
            <c:idx val="10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7-5785-4567-B9B7-AB85A6214C08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179</c:v>
                </c:pt>
                <c:pt idx="1">
                  <c:v>176</c:v>
                </c:pt>
                <c:pt idx="2">
                  <c:v>170</c:v>
                </c:pt>
                <c:pt idx="3">
                  <c:v>166</c:v>
                </c:pt>
                <c:pt idx="4">
                  <c:v>156</c:v>
                </c:pt>
                <c:pt idx="5">
                  <c:v>145</c:v>
                </c:pt>
                <c:pt idx="6">
                  <c:v>144</c:v>
                </c:pt>
                <c:pt idx="7">
                  <c:v>143</c:v>
                </c:pt>
                <c:pt idx="8">
                  <c:v>130</c:v>
                </c:pt>
                <c:pt idx="9">
                  <c:v>121</c:v>
                </c:pt>
                <c:pt idx="10">
                  <c:v>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2"/>
          <c:order val="1"/>
          <c:tx>
            <c:strRef>
              <c:f>data!$E$8</c:f>
              <c:strCache>
                <c:ptCount val="1"/>
                <c:pt idx="0">
                  <c:v>in self-servic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2CE-4424-97B3-FF7CF177A4A0}"/>
              </c:ext>
            </c:extLst>
          </c:dPt>
          <c:dPt>
            <c:idx val="10"/>
            <c:invertIfNegative val="0"/>
            <c:bubble3D val="0"/>
            <c:spPr>
              <a:solidFill>
                <a:srgbClr val="EB0000"/>
              </a:solidFill>
            </c:spPr>
            <c:extLst>
              <c:ext xmlns:c16="http://schemas.microsoft.com/office/drawing/2014/chart" uri="{C3380CC4-5D6E-409C-BE32-E72D297353CC}">
                <c16:uniqueId val="{00000006-5785-4567-B9B7-AB85A6214C08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482</c:v>
                </c:pt>
                <c:pt idx="1">
                  <c:v>491</c:v>
                </c:pt>
                <c:pt idx="2">
                  <c:v>501</c:v>
                </c:pt>
                <c:pt idx="3">
                  <c:v>505</c:v>
                </c:pt>
                <c:pt idx="4">
                  <c:v>515</c:v>
                </c:pt>
                <c:pt idx="5">
                  <c:v>530</c:v>
                </c:pt>
                <c:pt idx="6">
                  <c:v>548</c:v>
                </c:pt>
                <c:pt idx="7">
                  <c:v>576</c:v>
                </c:pt>
                <c:pt idx="8">
                  <c:v>588</c:v>
                </c:pt>
                <c:pt idx="9">
                  <c:v>595</c:v>
                </c:pt>
                <c:pt idx="10">
                  <c:v>5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1"/>
          <c:order val="2"/>
          <c:tx>
            <c:strRef>
              <c:f>data!$D$8</c:f>
              <c:strCache>
                <c:ptCount val="1"/>
                <c:pt idx="0">
                  <c:v>serviti da agenzie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57</c:v>
                </c:pt>
                <c:pt idx="1">
                  <c:v>53</c:v>
                </c:pt>
                <c:pt idx="2">
                  <c:v>50</c:v>
                </c:pt>
                <c:pt idx="3">
                  <c:v>49</c:v>
                </c:pt>
                <c:pt idx="4">
                  <c:v>48</c:v>
                </c:pt>
                <c:pt idx="5">
                  <c:v>46</c:v>
                </c:pt>
                <c:pt idx="6">
                  <c:v>27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2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800"/>
          <c:min val="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1216"/>
        <c:crosses val="autoZero"/>
        <c:crossBetween val="between"/>
        <c:majorUnit val="200"/>
      </c:valAx>
    </c:plotArea>
    <c:legend>
      <c:legendPos val="b"/>
      <c:layout>
        <c:manualLayout>
          <c:xMode val="edge"/>
          <c:yMode val="edge"/>
          <c:x val="7.3539147255229018E-2"/>
          <c:y val="0.81846637485729923"/>
          <c:w val="0.65752549246951542"/>
          <c:h val="4.5279788943638502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501</cdr:x>
      <cdr:y>0.12016</cdr:y>
    </cdr:from>
    <cdr:to>
      <cdr:x>0.16678</cdr:x>
      <cdr:y>0.1662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051404" y="630374"/>
          <a:ext cx="794224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CH" sz="1100" noProof="0" dirty="0">
              <a:solidFill>
                <a:schemeClr val="tx2"/>
              </a:solidFill>
            </a:rPr>
            <a:t>Quantità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5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5935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837753564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de-CH" dirty="0"/>
              <a:t>Punti vendita FFS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495507-A500-4876-A7D7-039B7559AD0C}"/>
              </a:ext>
            </a:extLst>
          </p:cNvPr>
          <p:cNvSpPr txBox="1"/>
          <p:nvPr/>
        </p:nvSpPr>
        <p:spPr>
          <a:xfrm>
            <a:off x="2144853" y="6048375"/>
            <a:ext cx="6146660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Non è possibile fare un raffronto tra il numero di punti vendita FFS e il numero di stazioni FFS: i punti vendita nelle stazioni di proprietà delle FFS possono essere gestiti anche da altre imprese di trasporto; inoltre esistono punti vendita FFS che non si trovano in una stazione (ad es. </a:t>
            </a:r>
            <a:r>
              <a:rPr kumimoji="0" lang="it-IT" sz="9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Ginevra </a:t>
            </a:r>
            <a:r>
              <a: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Balexert</a:t>
            </a: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) o si trovano in una stazione che non appartiene alle FFS (ad es. Costanza)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697345" y="5596528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  <a:r>
              <a:rPr lang="de-CH" sz="1100" kern="0" spc="0" dirty="0" err="1">
                <a:latin typeface="SBB Light"/>
              </a:rPr>
              <a:t>sbb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.ch</a:t>
            </a:r>
          </a:p>
        </p:txBody>
      </p:sp>
    </p:spTree>
    <p:extLst>
      <p:ext uri="{BB962C8B-B14F-4D97-AF65-F5344CB8AC3E}">
        <p14:creationId xmlns:p14="http://schemas.microsoft.com/office/powerpoint/2010/main" val="4071747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BDDACBF-0586-4A41-A4A7-EF8799C1DC3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9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Punti vendita FF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unti vendita FFS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5-02-25T09:23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